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vsd" ContentType="application/vnd.visio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sdx" ContentType="application/vnd.ms-visio.drawing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4" r:id="rId1"/>
    <p:sldMasterId id="2147483716" r:id="rId2"/>
  </p:sldMasterIdLst>
  <p:notesMasterIdLst>
    <p:notesMasterId r:id="rId4"/>
  </p:notesMasterIdLst>
  <p:sldIdLst>
    <p:sldId id="264" r:id="rId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5" autoAdjust="0"/>
    <p:restoredTop sz="94660"/>
  </p:normalViewPr>
  <p:slideViewPr>
    <p:cSldViewPr snapToGrid="0">
      <p:cViewPr varScale="1">
        <p:scale>
          <a:sx n="92" d="100"/>
          <a:sy n="92" d="100"/>
        </p:scale>
        <p:origin x="127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image" Target="../media/image8.wmf"/><Relationship Id="rId1" Type="http://schemas.openxmlformats.org/officeDocument/2006/relationships/image" Target="../media/image7.wmf"/><Relationship Id="rId6" Type="http://schemas.openxmlformats.org/officeDocument/2006/relationships/image" Target="../media/image12.wmf"/><Relationship Id="rId5" Type="http://schemas.openxmlformats.org/officeDocument/2006/relationships/image" Target="../media/image11.wmf"/><Relationship Id="rId4" Type="http://schemas.openxmlformats.org/officeDocument/2006/relationships/image" Target="../media/image10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FDE44F-B0BF-4DDF-B90C-788F1943211C}" type="datetimeFigureOut">
              <a:rPr lang="en-US" smtClean="0"/>
              <a:t>9/1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79375B-6C31-4AF0-81BC-5C847A745D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0728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4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73442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  <p:sp>
        <p:nvSpPr>
          <p:cNvPr id="573443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4DA8D5D-C495-41FE-89D8-2CC16B09AF26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3720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gi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4628956" cy="842400"/>
          </a:xfrm>
        </p:spPr>
        <p:txBody>
          <a:bodyPr lIns="0" tIns="0" rIns="0" bIns="0" anchor="b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4629600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9" name="Picture 8" descr="DEL_PRI_RGB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25984" y="399576"/>
            <a:ext cx="1720800" cy="322531"/>
          </a:xfrm>
          <a:prstGeom prst="rect">
            <a:avLst/>
          </a:prstGeom>
        </p:spPr>
      </p:pic>
      <p:pic>
        <p:nvPicPr>
          <p:cNvPr id="5" name="Picture 4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25984" y="399576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2436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41148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411480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552536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66749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448302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763453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 lIns="0" tIns="0" rIns="0" bIns="0"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90127175"/>
      </p:ext>
    </p:extLst>
  </p:cSld>
  <p:clrMapOvr>
    <a:masterClrMapping/>
  </p:clrMapOvr>
  <p:transition>
    <p:fade/>
  </p:transition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409288091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86469198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with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 baseline="0">
                <a:solidFill>
                  <a:schemeClr val="accent2"/>
                </a:solidFill>
              </a:defRPr>
            </a:lvl1pPr>
            <a:lvl2pPr>
              <a:defRPr sz="6000">
                <a:solidFill>
                  <a:schemeClr val="accent2"/>
                </a:solidFill>
              </a:defRPr>
            </a:lvl2pPr>
            <a:lvl3pPr>
              <a:defRPr sz="6000">
                <a:solidFill>
                  <a:schemeClr val="accent2"/>
                </a:solidFill>
              </a:defRPr>
            </a:lvl3pPr>
            <a:lvl4pPr>
              <a:defRPr sz="6000">
                <a:solidFill>
                  <a:schemeClr val="accent2"/>
                </a:solidFill>
              </a:defRPr>
            </a:lvl4pPr>
            <a:lvl5pPr>
              <a:defRPr sz="6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826933775"/>
      </p:ext>
    </p:extLst>
  </p:cSld>
  <p:clrMapOvr>
    <a:masterClrMapping/>
  </p:clrMapOvr>
  <p:transition>
    <p:fade/>
  </p:transition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818068"/>
            <a:ext cx="2811073" cy="3007406"/>
          </a:xfrm>
        </p:spPr>
        <p:txBody>
          <a:bodyPr/>
          <a:lstStyle>
            <a:lvl1pPr>
              <a:defRPr sz="4800">
                <a:solidFill>
                  <a:schemeClr val="accent2"/>
                </a:solidFill>
              </a:defRPr>
            </a:lvl1pPr>
            <a:lvl2pPr>
              <a:defRPr sz="4800">
                <a:solidFill>
                  <a:schemeClr val="accent2"/>
                </a:solidFill>
              </a:defRPr>
            </a:lvl2pPr>
            <a:lvl3pPr>
              <a:defRPr sz="4800">
                <a:solidFill>
                  <a:schemeClr val="accent2"/>
                </a:solidFill>
              </a:defRPr>
            </a:lvl3pPr>
            <a:lvl4pPr>
              <a:defRPr sz="4800">
                <a:solidFill>
                  <a:schemeClr val="accent2"/>
                </a:solidFill>
              </a:defRPr>
            </a:lvl4pPr>
            <a:lvl5pPr>
              <a:defRPr sz="4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83059079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 marL="0" indent="0">
              <a:spcBef>
                <a:spcPts val="3600"/>
              </a:spcBef>
              <a:buFont typeface="Arial" panose="020B0604020202020204" pitchFamily="34" charset="0"/>
              <a:buNone/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3388102"/>
      </p:ext>
    </p:extLst>
  </p:cSld>
  <p:clrMapOvr>
    <a:masterClrMapping/>
  </p:clrMapOvr>
  <p:transition>
    <p:fade/>
  </p:transition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68064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2772000" cy="841248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2770632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8" name="Picture 7" descr="DEL_PRI_RGB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25984" y="399576"/>
            <a:ext cx="1720800" cy="322531"/>
          </a:xfrm>
          <a:prstGeom prst="rect">
            <a:avLst/>
          </a:prstGeom>
        </p:spPr>
      </p:pic>
      <p:pic>
        <p:nvPicPr>
          <p:cNvPr id="5" name="Picture 4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25984" y="399576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9137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588294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ilde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EL_PRI_RGB.gi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897" y="3904488"/>
            <a:ext cx="1720800" cy="322531"/>
          </a:xfrm>
          <a:prstGeom prst="rect">
            <a:avLst/>
          </a:prstGeom>
        </p:spPr>
      </p:pic>
      <p:pic>
        <p:nvPicPr>
          <p:cNvPr id="4" name="Picture 3" descr="DEL_PRI_RGB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897" y="3904488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54572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gray">
          <a:xfrm>
            <a:off x="585788" y="774700"/>
            <a:ext cx="7972425" cy="479583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90000" rIns="90000" bIns="90000" anchor="ctr"/>
          <a:lstStyle/>
          <a:p>
            <a:pPr marL="119063" indent="-119063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GB" sz="1100" b="1" dirty="0">
              <a:solidFill>
                <a:srgbClr val="000000"/>
              </a:solidFill>
            </a:endParaRPr>
          </a:p>
        </p:txBody>
      </p:sp>
      <p:pic>
        <p:nvPicPr>
          <p:cNvPr id="5" name="Picture 5" descr="LLP logo with big space copy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995" t="1778" b="59770"/>
          <a:stretch>
            <a:fillRect/>
          </a:stretch>
        </p:blipFill>
        <p:spPr bwMode="gray">
          <a:xfrm>
            <a:off x="895350" y="6019800"/>
            <a:ext cx="144462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00739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892175" y="2581275"/>
            <a:ext cx="6581775" cy="549275"/>
          </a:xfrm>
        </p:spPr>
        <p:txBody>
          <a:bodyPr/>
          <a:lstStyle>
            <a:lvl1pPr>
              <a:lnSpc>
                <a:spcPts val="2200"/>
              </a:lnSpc>
              <a:spcBef>
                <a:spcPct val="10000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0074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92175" y="3402013"/>
            <a:ext cx="6583363" cy="439737"/>
          </a:xfrm>
          <a:ln/>
        </p:spPr>
        <p:txBody>
          <a:bodyPr/>
          <a:lstStyle>
            <a:lvl1pPr>
              <a:lnSpc>
                <a:spcPts val="1600"/>
              </a:lnSpc>
              <a:spcBef>
                <a:spcPct val="15000"/>
              </a:spcBef>
              <a:buClrTx/>
              <a:defRPr sz="1400" b="1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10218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889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95813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6875" y="1154113"/>
            <a:ext cx="1927225" cy="51355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76500" y="1154113"/>
            <a:ext cx="1928813" cy="51355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700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975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207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68014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587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Cover-image-3.jp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369066" y="-1"/>
            <a:ext cx="54864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6" name="Picture 15" descr="DEL_PRI_RGB.gif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98" y="366583"/>
            <a:ext cx="1720800" cy="3225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838" y="998068"/>
            <a:ext cx="4878856" cy="670396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838" y="1672132"/>
            <a:ext cx="4878856" cy="67039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Cover-image-3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369066" y="-1"/>
            <a:ext cx="54864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1" name="Picture 10" descr="DEL_PRI_RGB.gi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98" y="366583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958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7327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204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59563" y="514350"/>
            <a:ext cx="2087562" cy="57753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6875" y="514350"/>
            <a:ext cx="6110288" cy="57753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056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3"/>
            <a:ext cx="8412480" cy="473429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0090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0319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8412480" cy="4734292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2687832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79947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65760" y="295683"/>
            <a:ext cx="5394960" cy="12435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65760" y="1611313"/>
            <a:ext cx="5394960" cy="4735487"/>
          </a:xfrm>
        </p:spPr>
        <p:txBody>
          <a:bodyPr/>
          <a:lstStyle>
            <a:lvl1pPr marL="0" indent="0">
              <a:tabLst>
                <a:tab pos="5029200" algn="r"/>
              </a:tabLst>
              <a:defRPr sz="2000">
                <a:solidFill>
                  <a:schemeClr val="bg1"/>
                </a:solidFill>
              </a:defRPr>
            </a:lvl1pPr>
            <a:lvl2pPr marL="228600" indent="-228600" algn="l">
              <a:buClrTx/>
              <a:buSzPct val="100000"/>
              <a:buFont typeface="Arial"/>
              <a:buChar char="•"/>
              <a:tabLst>
                <a:tab pos="5029200" algn="r"/>
              </a:tabLst>
              <a:defRPr sz="2000">
                <a:solidFill>
                  <a:schemeClr val="bg1"/>
                </a:solidFill>
              </a:defRPr>
            </a:lvl2pPr>
            <a:lvl3pPr marL="482600" indent="-228600" algn="l">
              <a:buClrTx/>
              <a:buSzPct val="100000"/>
              <a:buFont typeface="Arial"/>
              <a:buChar char="−"/>
              <a:tabLst>
                <a:tab pos="5029200" algn="r"/>
              </a:tabLst>
              <a:defRPr sz="2000">
                <a:solidFill>
                  <a:schemeClr val="bg1"/>
                </a:solidFill>
              </a:defRPr>
            </a:lvl3pPr>
            <a:lvl4pPr marL="736600" indent="-228600" algn="l">
              <a:buClrTx/>
              <a:buSzPct val="100000"/>
              <a:buFont typeface="Arial"/>
              <a:buChar char="◦"/>
              <a:tabLst>
                <a:tab pos="5029200" algn="r"/>
              </a:tabLst>
              <a:defRPr sz="1800">
                <a:solidFill>
                  <a:schemeClr val="bg1"/>
                </a:solidFill>
              </a:defRPr>
            </a:lvl4pPr>
            <a:lvl5pPr marL="990600" indent="-228600" algn="l">
              <a:buClrTx/>
              <a:buSzPct val="100000"/>
              <a:buFont typeface="Arial"/>
              <a:buChar char="−"/>
              <a:tabLst>
                <a:tab pos="5029200" algn="r"/>
              </a:tabLst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2021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/>
          </p:nvPr>
        </p:nvSpPr>
        <p:spPr>
          <a:xfrm>
            <a:off x="36576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466344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418730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65760" y="295683"/>
            <a:ext cx="8412480" cy="12441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5760" y="1611313"/>
            <a:ext cx="8412480" cy="47342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Bullet level 1</a:t>
            </a:r>
          </a:p>
          <a:p>
            <a:pPr lvl="2"/>
            <a:r>
              <a:rPr lang="en-US" dirty="0" smtClean="0"/>
              <a:t>Bullet level 2</a:t>
            </a:r>
          </a:p>
          <a:p>
            <a:pPr lvl="3"/>
            <a:r>
              <a:rPr lang="en-US" dirty="0" smtClean="0"/>
              <a:t>Bullet level 3</a:t>
            </a:r>
          </a:p>
          <a:p>
            <a:pPr lvl="4"/>
            <a:r>
              <a:rPr lang="en-US" dirty="0" smtClean="0"/>
              <a:t>Bullet level 4</a:t>
            </a:r>
          </a:p>
        </p:txBody>
      </p:sp>
      <p:sp>
        <p:nvSpPr>
          <p:cNvPr id="9" name="TextBox 8"/>
          <p:cNvSpPr txBox="1"/>
          <p:nvPr/>
        </p:nvSpPr>
        <p:spPr bwMode="gray">
          <a:xfrm>
            <a:off x="4434840" y="6481703"/>
            <a:ext cx="43434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r>
              <a:rPr lang="en-US" sz="800" dirty="0">
                <a:solidFill>
                  <a:srgbClr val="8C8C8C"/>
                </a:solidFill>
              </a:rPr>
              <a:t>Copyright © 2014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44580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5" r:id="rId21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SzPct val="100000"/>
        <a:buFont typeface="Arial" panose="020B0604020202020204" pitchFamily="34" charset="0"/>
        <a:buNone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2032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•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2pPr>
      <a:lvl3pPr marL="4318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−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6604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◦"/>
        <a:defRPr lang="en-US" sz="16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4pPr>
      <a:lvl5pPr marL="889000" indent="-203200" algn="l" defTabSz="798513" rtl="0" eaLnBrk="1" latinLnBrk="0" hangingPunct="1">
        <a:spcBef>
          <a:spcPts val="600"/>
        </a:spcBef>
        <a:buClrTx/>
        <a:buSzPct val="100000"/>
        <a:buFont typeface="Arial"/>
        <a:buChar char="−"/>
        <a:tabLst/>
        <a:defRPr lang="en-US" sz="16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01638" y="514350"/>
            <a:ext cx="8345487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96875" y="1154113"/>
            <a:ext cx="4008438" cy="5135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3699717" name="Text Box 5"/>
          <p:cNvSpPr txBox="1">
            <a:spLocks noChangeArrowheads="1"/>
          </p:cNvSpPr>
          <p:nvPr/>
        </p:nvSpPr>
        <p:spPr bwMode="gray">
          <a:xfrm>
            <a:off x="4432300" y="6664325"/>
            <a:ext cx="279400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900" dirty="0">
                <a:solidFill>
                  <a:srgbClr val="000000"/>
                </a:solidFill>
              </a:rPr>
              <a:t>- </a:t>
            </a:r>
            <a:fld id="{691A62B7-535E-47E7-98B8-85591284AC94}" type="slidenum">
              <a:rPr lang="en-US" sz="900">
                <a:solidFill>
                  <a:srgbClr val="000000"/>
                </a:solidFill>
              </a:rPr>
              <a:pPr algn="ctr"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srgbClr val="000000"/>
                </a:solidFill>
              </a:rPr>
              <a:t> -</a:t>
            </a:r>
          </a:p>
        </p:txBody>
      </p:sp>
      <p:pic>
        <p:nvPicPr>
          <p:cNvPr id="4101" name="Picture 6" descr="DEL_COL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gray">
          <a:xfrm>
            <a:off x="395288" y="6645275"/>
            <a:ext cx="690562" cy="13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99747" name="Line 35"/>
          <p:cNvSpPr>
            <a:spLocks noChangeShapeType="1"/>
          </p:cNvSpPr>
          <p:nvPr userDrawn="1"/>
        </p:nvSpPr>
        <p:spPr bwMode="gray">
          <a:xfrm>
            <a:off x="392113" y="806450"/>
            <a:ext cx="835501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106000"/>
              </a:lnSpc>
              <a:spcBef>
                <a:spcPct val="50000"/>
              </a:spcBef>
              <a:spcAft>
                <a:spcPct val="0"/>
              </a:spcAft>
              <a:buSzPct val="100000"/>
              <a:buFont typeface="Wingdings 2" pitchFamily="18" charset="2"/>
              <a:buNone/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pic>
        <p:nvPicPr>
          <p:cNvPr id="4103" name="Picture 11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482013" y="6484938"/>
            <a:ext cx="45085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37678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106000"/>
        </a:lnSpc>
        <a:spcBef>
          <a:spcPct val="80000"/>
        </a:spcBef>
        <a:spcAft>
          <a:spcPct val="0"/>
        </a:spcAft>
        <a:buClr>
          <a:schemeClr val="tx1"/>
        </a:buClr>
        <a:buSzPct val="80000"/>
        <a:buFont typeface="Wingdings" pitchFamily="2" charset="2"/>
        <a:defRPr sz="1100">
          <a:solidFill>
            <a:schemeClr val="tx1"/>
          </a:solidFill>
          <a:latin typeface="+mn-lt"/>
          <a:ea typeface="+mn-ea"/>
          <a:cs typeface="+mn-cs"/>
        </a:defRPr>
      </a:lvl1pPr>
      <a:lvl2pPr marL="169863" indent="-168275" algn="l" rtl="0" eaLnBrk="0" fontAlgn="base" hangingPunct="0">
        <a:lnSpc>
          <a:spcPct val="106000"/>
        </a:lnSpc>
        <a:spcBef>
          <a:spcPct val="80000"/>
        </a:spcBef>
        <a:spcAft>
          <a:spcPct val="0"/>
        </a:spcAft>
        <a:buClr>
          <a:schemeClr val="tx1"/>
        </a:buClr>
        <a:buFont typeface="Wingdings 2" pitchFamily="18" charset="2"/>
        <a:buChar char="¡"/>
        <a:defRPr sz="1100">
          <a:solidFill>
            <a:schemeClr val="tx1"/>
          </a:solidFill>
          <a:latin typeface="+mn-lt"/>
        </a:defRPr>
      </a:lvl2pPr>
      <a:lvl3pPr marL="344488" indent="-173038" algn="l" rtl="0" eaLnBrk="0" fontAlgn="base" hangingPunct="0">
        <a:lnSpc>
          <a:spcPct val="106000"/>
        </a:lnSpc>
        <a:spcBef>
          <a:spcPct val="40000"/>
        </a:spcBef>
        <a:spcAft>
          <a:spcPct val="0"/>
        </a:spcAft>
        <a:buClr>
          <a:schemeClr val="tx1"/>
        </a:buClr>
        <a:buFont typeface="Arial" charset="0"/>
        <a:buChar char="–"/>
        <a:defRPr sz="1000">
          <a:solidFill>
            <a:schemeClr val="tx1"/>
          </a:solidFill>
          <a:latin typeface="+mn-lt"/>
        </a:defRPr>
      </a:lvl3pPr>
      <a:lvl4pPr marL="517525" indent="-171450" algn="l" rtl="0" eaLnBrk="0" fontAlgn="base" hangingPunct="0">
        <a:lnSpc>
          <a:spcPct val="106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000">
          <a:solidFill>
            <a:schemeClr val="tx1"/>
          </a:solidFill>
          <a:latin typeface="+mn-lt"/>
        </a:defRPr>
      </a:lvl4pPr>
      <a:lvl5pPr marL="1446213" indent="-2365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5pPr>
      <a:lvl6pPr marL="1903413" indent="-236538" algn="l" rtl="0" fontAlgn="base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6pPr>
      <a:lvl7pPr marL="2360613" indent="-236538" algn="l" rtl="0" fontAlgn="base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7pPr>
      <a:lvl8pPr marL="2817813" indent="-236538" algn="l" rtl="0" fontAlgn="base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8pPr>
      <a:lvl9pPr marL="3275013" indent="-236538" algn="l" rtl="0" fontAlgn="base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2.xlsx"/><Relationship Id="rId13" Type="http://schemas.openxmlformats.org/officeDocument/2006/relationships/package" Target="../embeddings/Microsoft_Visio_Drawing4.vsdx"/><Relationship Id="rId18" Type="http://schemas.openxmlformats.org/officeDocument/2006/relationships/image" Target="../media/image12.wmf"/><Relationship Id="rId3" Type="http://schemas.openxmlformats.org/officeDocument/2006/relationships/notesSlide" Target="../notesSlides/notesSlide1.xml"/><Relationship Id="rId7" Type="http://schemas.openxmlformats.org/officeDocument/2006/relationships/oleObject" Target="../embeddings/oleObject5.bin"/><Relationship Id="rId12" Type="http://schemas.openxmlformats.org/officeDocument/2006/relationships/image" Target="../media/image9.wmf"/><Relationship Id="rId17" Type="http://schemas.openxmlformats.org/officeDocument/2006/relationships/oleObject" Target="../embeddings/oleObject7.bin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1.wmf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wmf"/><Relationship Id="rId11" Type="http://schemas.openxmlformats.org/officeDocument/2006/relationships/package" Target="../embeddings/Microsoft_Excel_Worksheet3.xlsx"/><Relationship Id="rId5" Type="http://schemas.openxmlformats.org/officeDocument/2006/relationships/package" Target="../embeddings/Microsoft_Excel_Worksheet1.xlsx"/><Relationship Id="rId15" Type="http://schemas.openxmlformats.org/officeDocument/2006/relationships/oleObject" Target="../embeddings/Microsoft_Visio_2003-2010_Drawing1.vsd"/><Relationship Id="rId10" Type="http://schemas.openxmlformats.org/officeDocument/2006/relationships/oleObject" Target="../embeddings/oleObject6.bin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wmf"/><Relationship Id="rId14" Type="http://schemas.openxmlformats.org/officeDocument/2006/relationships/image" Target="../media/image10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41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version &amp; Capping Design Walkthrough</a:t>
            </a:r>
            <a:br>
              <a:rPr lang="en-US" dirty="0" smtClean="0"/>
            </a:br>
            <a:r>
              <a:rPr lang="en-US" sz="1100" i="1" dirty="0"/>
              <a:t>Illustrated below </a:t>
            </a:r>
            <a:r>
              <a:rPr lang="en-US" sz="1100" i="1" dirty="0" smtClean="0"/>
              <a:t>is a Lifecycle Scenario for conversions – The actual lifecycle scenario will contain more number of validations than depicted below. The design documents section contains the designs for both capping and conversions. </a:t>
            </a:r>
          </a:p>
        </p:txBody>
      </p:sp>
      <p:grpSp>
        <p:nvGrpSpPr>
          <p:cNvPr id="77" name="Group 76"/>
          <p:cNvGrpSpPr/>
          <p:nvPr/>
        </p:nvGrpSpPr>
        <p:grpSpPr>
          <a:xfrm>
            <a:off x="337059" y="1529782"/>
            <a:ext cx="8464390" cy="3293906"/>
            <a:chOff x="345412" y="1800237"/>
            <a:chExt cx="8464390" cy="3293906"/>
          </a:xfrm>
        </p:grpSpPr>
        <p:sp>
          <p:nvSpPr>
            <p:cNvPr id="22" name="Rounded Rectangle 21"/>
            <p:cNvSpPr/>
            <p:nvPr/>
          </p:nvSpPr>
          <p:spPr>
            <a:xfrm>
              <a:off x="350782" y="2353915"/>
              <a:ext cx="1186816" cy="2220548"/>
            </a:xfrm>
            <a:prstGeom prst="roundRect">
              <a:avLst>
                <a:gd name="adj" fmla="val 10000"/>
              </a:avLst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Rounded Rectangle 4"/>
            <p:cNvSpPr/>
            <p:nvPr/>
          </p:nvSpPr>
          <p:spPr>
            <a:xfrm>
              <a:off x="364061" y="2534756"/>
              <a:ext cx="1186816" cy="2013439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marL="171450" lvl="0" indent="-171450" algn="l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ü"/>
              </a:pPr>
              <a:r>
                <a:rPr lang="en-US" sz="80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licy is imported using the import tool. </a:t>
              </a:r>
            </a:p>
            <a:p>
              <a:pPr marL="171450" lvl="0" indent="-171450" algn="l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ü"/>
              </a:pPr>
              <a:r>
                <a:rPr lang="en-US" sz="8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ports are manually ordered</a:t>
              </a:r>
            </a:p>
            <a:p>
              <a:pPr marL="171450" lvl="0" indent="-171450" algn="l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ü"/>
              </a:pPr>
              <a:r>
                <a:rPr lang="en-US" sz="8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mium is calculated</a:t>
              </a:r>
              <a:endParaRPr lang="en-US" sz="800" kern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lvl="0" indent="-171450" algn="l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ü"/>
              </a:pPr>
              <a:r>
                <a:rPr lang="en-US" sz="8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ms are generated</a:t>
              </a:r>
              <a:endParaRPr lang="en-US" sz="800" kern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lvl="0" indent="-171450" algn="l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ü"/>
              </a:pPr>
              <a:r>
                <a:rPr lang="en-US" sz="8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verted policy is renewed in PAS</a:t>
              </a:r>
              <a:endParaRPr lang="en-US" sz="800" kern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lvl="0" indent="-17145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ü"/>
              </a:pPr>
              <a:endParaRPr lang="en-US" sz="800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76" name="Group 75"/>
            <p:cNvGrpSpPr/>
            <p:nvPr/>
          </p:nvGrpSpPr>
          <p:grpSpPr>
            <a:xfrm>
              <a:off x="345412" y="1800237"/>
              <a:ext cx="8464390" cy="3293906"/>
              <a:chOff x="345412" y="1800237"/>
              <a:chExt cx="8464390" cy="3293906"/>
            </a:xfrm>
          </p:grpSpPr>
          <p:sp>
            <p:nvSpPr>
              <p:cNvPr id="11" name="Rectangle 10"/>
              <p:cNvSpPr/>
              <p:nvPr/>
            </p:nvSpPr>
            <p:spPr bwMode="gray">
              <a:xfrm>
                <a:off x="350782" y="1800995"/>
                <a:ext cx="1188720" cy="457200"/>
              </a:xfrm>
              <a:prstGeom prst="rect">
                <a:avLst/>
              </a:prstGeom>
              <a:solidFill>
                <a:schemeClr val="accent2"/>
              </a:solidFill>
              <a:ln w="19050" algn="ctr">
                <a:solidFill>
                  <a:schemeClr val="accent2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</a:rPr>
                  <a:t>CONVERSION RENEWAL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lang="en-US" sz="800" b="1" kern="0" dirty="0" smtClean="0">
                    <a:solidFill>
                      <a:prstClr val="white"/>
                    </a:solidFill>
                    <a:latin typeface="Arial"/>
                  </a:rPr>
                  <a:t>(1</a:t>
                </a:r>
                <a:r>
                  <a:rPr lang="en-US" sz="800" b="1" kern="0" baseline="30000" dirty="0" smtClean="0">
                    <a:solidFill>
                      <a:prstClr val="white"/>
                    </a:solidFill>
                    <a:latin typeface="Arial"/>
                  </a:rPr>
                  <a:t>st</a:t>
                </a:r>
                <a:r>
                  <a:rPr lang="en-US" sz="800" b="1" kern="0" dirty="0" smtClean="0">
                    <a:solidFill>
                      <a:prstClr val="white"/>
                    </a:solidFill>
                    <a:latin typeface="Arial"/>
                  </a:rPr>
                  <a:t> YEAR)</a:t>
                </a:r>
                <a:endParaRPr kumimoji="0" 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grpSp>
            <p:nvGrpSpPr>
              <p:cNvPr id="9" name="Group 8"/>
              <p:cNvGrpSpPr/>
              <p:nvPr/>
            </p:nvGrpSpPr>
            <p:grpSpPr>
              <a:xfrm>
                <a:off x="345412" y="1800237"/>
                <a:ext cx="8464390" cy="3293906"/>
                <a:chOff x="345412" y="1800237"/>
                <a:chExt cx="8464390" cy="3293906"/>
              </a:xfrm>
            </p:grpSpPr>
            <p:sp>
              <p:nvSpPr>
                <p:cNvPr id="12" name="Rectangle 11"/>
                <p:cNvSpPr/>
                <p:nvPr/>
              </p:nvSpPr>
              <p:spPr bwMode="gray">
                <a:xfrm>
                  <a:off x="1804842" y="1800995"/>
                  <a:ext cx="1188720" cy="457200"/>
                </a:xfrm>
                <a:prstGeom prst="rect">
                  <a:avLst/>
                </a:prstGeom>
                <a:solidFill>
                  <a:schemeClr val="accent3"/>
                </a:solidFill>
                <a:ln w="19050" algn="ctr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algn="ctr">
                    <a:lnSpc>
                      <a:spcPct val="106000"/>
                    </a:lnSpc>
                    <a:buFont typeface="Wingdings 2" pitchFamily="18" charset="2"/>
                    <a:buNone/>
                  </a:pPr>
                  <a:r>
                    <a:rPr lang="en-US" sz="800" b="1" kern="0" dirty="0">
                      <a:solidFill>
                        <a:prstClr val="white"/>
                      </a:solidFill>
                      <a:latin typeface="Arial"/>
                    </a:rPr>
                    <a:t>MID TERM CHANGES</a:t>
                  </a:r>
                </a:p>
              </p:txBody>
            </p:sp>
            <p:sp>
              <p:nvSpPr>
                <p:cNvPr id="13" name="Rectangle 12"/>
                <p:cNvSpPr/>
                <p:nvPr/>
              </p:nvSpPr>
              <p:spPr bwMode="gray">
                <a:xfrm>
                  <a:off x="3258902" y="1800995"/>
                  <a:ext cx="1188720" cy="457200"/>
                </a:xfrm>
                <a:prstGeom prst="rect">
                  <a:avLst/>
                </a:prstGeom>
                <a:solidFill>
                  <a:schemeClr val="accent3"/>
                </a:solidFill>
                <a:ln w="19050" algn="ctr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r>
                    <a:rPr kumimoji="0" lang="en-US" sz="8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</a:rPr>
                    <a:t>CANCEL</a:t>
                  </a:r>
                  <a:r>
                    <a:rPr kumimoji="0" lang="en-US" sz="800" b="1" i="0" u="none" strike="noStrike" kern="0" cap="none" spc="0" normalizeH="0" noProof="0" dirty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</a:rPr>
                    <a:t> NOTICE</a:t>
                  </a:r>
                  <a:endParaRPr kumimoji="0" lang="en-US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14" name="Rectangle 13"/>
                <p:cNvSpPr/>
                <p:nvPr/>
              </p:nvSpPr>
              <p:spPr bwMode="gray">
                <a:xfrm>
                  <a:off x="4712962" y="1800237"/>
                  <a:ext cx="1188720" cy="457200"/>
                </a:xfrm>
                <a:prstGeom prst="rect">
                  <a:avLst/>
                </a:prstGeom>
                <a:solidFill>
                  <a:schemeClr val="accent3"/>
                </a:solidFill>
                <a:ln w="19050" algn="ctr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r>
                    <a:rPr kumimoji="0" lang="en-US" sz="8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</a:rPr>
                    <a:t>BILLING</a:t>
                  </a:r>
                </a:p>
              </p:txBody>
            </p:sp>
            <p:sp>
              <p:nvSpPr>
                <p:cNvPr id="15" name="Rectangle 14"/>
                <p:cNvSpPr/>
                <p:nvPr/>
              </p:nvSpPr>
              <p:spPr bwMode="gray">
                <a:xfrm>
                  <a:off x="6167022" y="1800237"/>
                  <a:ext cx="1188720" cy="457200"/>
                </a:xfrm>
                <a:prstGeom prst="rect">
                  <a:avLst/>
                </a:prstGeom>
                <a:solidFill>
                  <a:schemeClr val="accent3"/>
                </a:solidFill>
                <a:ln w="19050" algn="ctr">
                  <a:solidFill>
                    <a:schemeClr val="accent3"/>
                  </a:solidFill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r>
                    <a:rPr kumimoji="0" lang="en-US" sz="8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</a:rPr>
                    <a:t>CANCELLATION/</a:t>
                  </a:r>
                </a:p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r>
                    <a:rPr kumimoji="0" lang="en-US" sz="8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</a:rPr>
                    <a:t>REINSTATEMENT</a:t>
                  </a:r>
                </a:p>
              </p:txBody>
            </p:sp>
            <p:sp>
              <p:nvSpPr>
                <p:cNvPr id="21" name="Rectangle 20"/>
                <p:cNvSpPr/>
                <p:nvPr/>
              </p:nvSpPr>
              <p:spPr bwMode="gray">
                <a:xfrm>
                  <a:off x="7621082" y="1800237"/>
                  <a:ext cx="1188720" cy="457200"/>
                </a:xfrm>
                <a:prstGeom prst="rect">
                  <a:avLst/>
                </a:prstGeom>
                <a:solidFill>
                  <a:schemeClr val="accent2"/>
                </a:solidFill>
                <a:ln w="19050" algn="ctr">
                  <a:solidFill>
                    <a:schemeClr val="accent2"/>
                  </a:solidFill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lvl="0" algn="ctr">
                    <a:lnSpc>
                      <a:spcPct val="106000"/>
                    </a:lnSpc>
                    <a:defRPr/>
                  </a:pPr>
                  <a:r>
                    <a:rPr lang="en-US" sz="800" b="1" kern="0" dirty="0" smtClean="0">
                      <a:solidFill>
                        <a:prstClr val="white"/>
                      </a:solidFill>
                    </a:rPr>
                    <a:t>RENEWAL</a:t>
                  </a:r>
                </a:p>
                <a:p>
                  <a:pPr lvl="0" algn="ctr">
                    <a:lnSpc>
                      <a:spcPct val="106000"/>
                    </a:lnSpc>
                    <a:defRPr/>
                  </a:pPr>
                  <a:r>
                    <a:rPr lang="en-US" sz="800" b="1" kern="0" dirty="0" smtClean="0">
                      <a:solidFill>
                        <a:prstClr val="white"/>
                      </a:solidFill>
                    </a:rPr>
                    <a:t>(2</a:t>
                  </a:r>
                  <a:r>
                    <a:rPr lang="en-US" sz="800" b="1" kern="0" baseline="30000" dirty="0" smtClean="0">
                      <a:solidFill>
                        <a:prstClr val="white"/>
                      </a:solidFill>
                    </a:rPr>
                    <a:t>nd</a:t>
                  </a:r>
                  <a:r>
                    <a:rPr lang="en-US" sz="800" b="1" kern="0" dirty="0" smtClean="0">
                      <a:solidFill>
                        <a:prstClr val="white"/>
                      </a:solidFill>
                    </a:rPr>
                    <a:t> YEAR)</a:t>
                  </a:r>
                  <a:endParaRPr lang="en-US" sz="800" b="1" kern="0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4" name="Rounded Rectangle 23"/>
                <p:cNvSpPr/>
                <p:nvPr/>
              </p:nvSpPr>
              <p:spPr>
                <a:xfrm>
                  <a:off x="1804734" y="2353916"/>
                  <a:ext cx="1188720" cy="2254524"/>
                </a:xfrm>
                <a:prstGeom prst="roundRect">
                  <a:avLst>
                    <a:gd name="adj" fmla="val 10000"/>
                  </a:avLst>
                </a:prstGeom>
                <a:noFill/>
                <a:ln>
                  <a:solidFill>
                    <a:schemeClr val="accent3"/>
                  </a:solidFill>
                </a:ln>
              </p:spPr>
              <p:style>
                <a:lnRef idx="2">
                  <a:scrgbClr r="0" g="0" b="0"/>
                </a:lnRef>
                <a:fillRef idx="1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25" name="Rounded Rectangle 8"/>
                <p:cNvSpPr/>
                <p:nvPr/>
              </p:nvSpPr>
              <p:spPr>
                <a:xfrm>
                  <a:off x="1839550" y="2646798"/>
                  <a:ext cx="1119087" cy="1644162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4290" tIns="34290" rIns="34290" bIns="34290" numCol="1" spcCol="1270" anchor="ctr" anchorCtr="0">
                  <a:noAutofit/>
                </a:bodyPr>
                <a:lstStyle/>
                <a:p>
                  <a:pPr marL="171450" lvl="0" indent="-171450" defTabSz="4000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Font typeface="Wingdings" panose="05000000000000000000" pitchFamily="2" charset="2"/>
                    <a:buChar char="ü"/>
                  </a:pPr>
                  <a:r>
                    <a:rPr lang="en-US" sz="80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uthorized user </a:t>
                  </a:r>
                  <a:r>
                    <a:rPr lang="en-US" sz="800" dirty="0" smtClean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performs an endorsement by adding a vehicle </a:t>
                  </a:r>
                </a:p>
                <a:p>
                  <a:pPr marL="171450" lvl="0" indent="-171450" defTabSz="4000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Font typeface="Wingdings" panose="05000000000000000000" pitchFamily="2" charset="2"/>
                    <a:buChar char="ü"/>
                  </a:pPr>
                  <a:r>
                    <a:rPr lang="en-US" sz="800" dirty="0" smtClean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Premium is recalculated</a:t>
                  </a:r>
                  <a:endParaRPr lang="en-US" sz="8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6" name="Rounded Rectangle 25"/>
                <p:cNvSpPr/>
                <p:nvPr/>
              </p:nvSpPr>
              <p:spPr>
                <a:xfrm>
                  <a:off x="3258686" y="2353915"/>
                  <a:ext cx="1188720" cy="2286000"/>
                </a:xfrm>
                <a:prstGeom prst="roundRect">
                  <a:avLst>
                    <a:gd name="adj" fmla="val 10000"/>
                  </a:avLst>
                </a:prstGeom>
                <a:noFill/>
                <a:ln>
                  <a:solidFill>
                    <a:schemeClr val="accent3"/>
                  </a:solidFill>
                </a:ln>
              </p:spPr>
              <p:style>
                <a:lnRef idx="2">
                  <a:scrgbClr r="0" g="0" b="0"/>
                </a:lnRef>
                <a:fillRef idx="1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27" name="Rounded Rectangle 12"/>
                <p:cNvSpPr/>
                <p:nvPr/>
              </p:nvSpPr>
              <p:spPr>
                <a:xfrm>
                  <a:off x="3293502" y="2717136"/>
                  <a:ext cx="1119087" cy="1573824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4290" tIns="34290" rIns="34290" bIns="34290" numCol="1" spcCol="1270" anchor="ctr" anchorCtr="0">
                  <a:noAutofit/>
                </a:bodyPr>
                <a:lstStyle/>
                <a:p>
                  <a:pPr marL="171450" lvl="0" indent="-171450" defTabSz="4000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Font typeface="Wingdings" panose="05000000000000000000" pitchFamily="2" charset="2"/>
                    <a:buChar char="ü"/>
                  </a:pPr>
                  <a:r>
                    <a:rPr lang="en-US" sz="800" dirty="0" smtClean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Cancel Notice is set on the policy due to Non-pay.</a:t>
                  </a:r>
                </a:p>
                <a:p>
                  <a:pPr lvl="0" defTabSz="4000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800" kern="12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8" name="Rounded Rectangle 27"/>
                <p:cNvSpPr/>
                <p:nvPr/>
              </p:nvSpPr>
              <p:spPr>
                <a:xfrm>
                  <a:off x="4712638" y="2362492"/>
                  <a:ext cx="1188720" cy="2286000"/>
                </a:xfrm>
                <a:prstGeom prst="roundRect">
                  <a:avLst>
                    <a:gd name="adj" fmla="val 10000"/>
                  </a:avLst>
                </a:prstGeom>
                <a:noFill/>
                <a:ln>
                  <a:solidFill>
                    <a:schemeClr val="accent3"/>
                  </a:solidFill>
                </a:ln>
              </p:spPr>
              <p:style>
                <a:lnRef idx="2">
                  <a:scrgbClr r="0" g="0" b="0"/>
                </a:lnRef>
                <a:fillRef idx="1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29" name="Rounded Rectangle 16"/>
                <p:cNvSpPr/>
                <p:nvPr/>
              </p:nvSpPr>
              <p:spPr>
                <a:xfrm>
                  <a:off x="4747454" y="2646797"/>
                  <a:ext cx="1119087" cy="1776047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4290" tIns="34290" rIns="34290" bIns="34290" numCol="1" spcCol="1270" anchor="ctr" anchorCtr="0">
                  <a:noAutofit/>
                </a:bodyPr>
                <a:lstStyle/>
                <a:p>
                  <a:pPr marL="171450" lvl="0" indent="-171450" defTabSz="4000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Font typeface="Wingdings" panose="05000000000000000000" pitchFamily="2" charset="2"/>
                    <a:buChar char="ü"/>
                  </a:pPr>
                  <a:endParaRPr lang="en-US" sz="8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" name="Rounded Rectangle 29"/>
                <p:cNvSpPr/>
                <p:nvPr/>
              </p:nvSpPr>
              <p:spPr>
                <a:xfrm>
                  <a:off x="6166590" y="2362492"/>
                  <a:ext cx="1188720" cy="2286000"/>
                </a:xfrm>
                <a:prstGeom prst="roundRect">
                  <a:avLst>
                    <a:gd name="adj" fmla="val 10000"/>
                  </a:avLst>
                </a:prstGeom>
                <a:noFill/>
                <a:ln>
                  <a:solidFill>
                    <a:schemeClr val="accent3"/>
                  </a:solidFill>
                </a:ln>
              </p:spPr>
              <p:style>
                <a:lnRef idx="2">
                  <a:scrgbClr r="0" g="0" b="0"/>
                </a:lnRef>
                <a:fillRef idx="1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31" name="Rounded Rectangle 20"/>
                <p:cNvSpPr/>
                <p:nvPr/>
              </p:nvSpPr>
              <p:spPr>
                <a:xfrm>
                  <a:off x="6201406" y="2488535"/>
                  <a:ext cx="1119087" cy="201344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4290" tIns="34290" rIns="34290" bIns="34290" numCol="1" spcCol="1270" anchor="ctr" anchorCtr="0">
                  <a:noAutofit/>
                </a:bodyPr>
                <a:lstStyle/>
                <a:p>
                  <a:pPr marL="228600" lvl="0" indent="-228600" defTabSz="4000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Font typeface="Wingdings" panose="05000000000000000000" pitchFamily="2" charset="2"/>
                    <a:buChar char="ü"/>
                  </a:pPr>
                  <a:r>
                    <a:rPr lang="en-US" sz="800" dirty="0" smtClean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Policy Cancelled due to non-payment of premium.</a:t>
                  </a:r>
                </a:p>
                <a:p>
                  <a:pPr marL="228600" lvl="0" indent="-228600" defTabSz="4000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Font typeface="Wingdings" panose="05000000000000000000" pitchFamily="2" charset="2"/>
                    <a:buChar char="ü"/>
                  </a:pPr>
                  <a:r>
                    <a:rPr lang="en-US" sz="800" dirty="0" smtClean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utomatic Reinstatement of the policy after payment of the premium.</a:t>
                  </a:r>
                  <a:endParaRPr lang="en-US" sz="8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marL="228600" lvl="0" indent="-228600" defTabSz="4000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Font typeface="Wingdings" panose="05000000000000000000" pitchFamily="2" charset="2"/>
                    <a:buChar char="ü"/>
                  </a:pPr>
                  <a:endParaRPr lang="en-US" sz="8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2" name="Rounded Rectangle 31"/>
                <p:cNvSpPr/>
                <p:nvPr/>
              </p:nvSpPr>
              <p:spPr>
                <a:xfrm>
                  <a:off x="7620544" y="2353914"/>
                  <a:ext cx="1188720" cy="2286000"/>
                </a:xfrm>
                <a:prstGeom prst="roundRect">
                  <a:avLst>
                    <a:gd name="adj" fmla="val 10000"/>
                  </a:avLst>
                </a:prstGeom>
                <a:noFill/>
                <a:ln>
                  <a:solidFill>
                    <a:schemeClr val="accent2"/>
                  </a:solidFill>
                </a:ln>
              </p:spPr>
              <p:style>
                <a:lnRef idx="2">
                  <a:scrgbClr r="0" g="0" b="0"/>
                </a:lnRef>
                <a:fillRef idx="1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33" name="Rounded Rectangle 24"/>
                <p:cNvSpPr/>
                <p:nvPr/>
              </p:nvSpPr>
              <p:spPr>
                <a:xfrm>
                  <a:off x="7655360" y="2488535"/>
                  <a:ext cx="1119087" cy="193430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4290" tIns="34290" rIns="34290" bIns="34290" numCol="1" spcCol="1270" anchor="ctr" anchorCtr="0">
                  <a:noAutofit/>
                </a:bodyPr>
                <a:lstStyle/>
                <a:p>
                  <a:pPr marL="171450" lvl="0" indent="-171450" defTabSz="4000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Font typeface="Wingdings" panose="05000000000000000000" pitchFamily="2" charset="2"/>
                    <a:buChar char="ü"/>
                  </a:pPr>
                  <a:r>
                    <a:rPr lang="en-US" sz="800" dirty="0" smtClean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Policy is renewed</a:t>
                  </a:r>
                </a:p>
                <a:p>
                  <a:pPr marL="171450" lvl="0" indent="-171450" defTabSz="4000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Font typeface="Wingdings" panose="05000000000000000000" pitchFamily="2" charset="2"/>
                    <a:buChar char="ü"/>
                  </a:pPr>
                  <a:r>
                    <a:rPr lang="en-US" sz="800" dirty="0" smtClean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Premium is recalculated </a:t>
                  </a:r>
                </a:p>
                <a:p>
                  <a:pPr marL="171450" indent="-171450" defTabSz="4000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Font typeface="Wingdings" panose="05000000000000000000" pitchFamily="2" charset="2"/>
                    <a:buChar char="ü"/>
                  </a:pPr>
                  <a:r>
                    <a:rPr lang="en-US" sz="800" dirty="0" smtClean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Generation of conversion specific forms is validated</a:t>
                  </a:r>
                </a:p>
                <a:p>
                  <a:pPr lvl="0" defTabSz="4000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800" dirty="0" smtClean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endParaRPr lang="en-US" sz="800" kern="12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" name="Group 37"/>
                <p:cNvGrpSpPr/>
                <p:nvPr/>
              </p:nvGrpSpPr>
              <p:grpSpPr>
                <a:xfrm>
                  <a:off x="1578725" y="3117528"/>
                  <a:ext cx="196764" cy="230176"/>
                  <a:chOff x="1020945" y="2051416"/>
                  <a:chExt cx="196764" cy="230176"/>
                </a:xfrm>
                <a:solidFill>
                  <a:schemeClr val="accent3"/>
                </a:solidFill>
              </p:grpSpPr>
              <p:sp>
                <p:nvSpPr>
                  <p:cNvPr id="39" name="Right Arrow 38"/>
                  <p:cNvSpPr/>
                  <p:nvPr/>
                </p:nvSpPr>
                <p:spPr>
                  <a:xfrm>
                    <a:off x="1020945" y="2051416"/>
                    <a:ext cx="196764" cy="230176"/>
                  </a:xfrm>
                  <a:prstGeom prst="rightArrow">
                    <a:avLst>
                      <a:gd name="adj1" fmla="val 60000"/>
                      <a:gd name="adj2" fmla="val 50000"/>
                    </a:avLst>
                  </a:prstGeom>
                  <a:grpFill/>
                  <a:ln>
                    <a:solidFill>
                      <a:schemeClr val="accent3"/>
                    </a:solidFill>
                  </a:ln>
                </p:spPr>
                <p:style>
                  <a:lnRef idx="0">
                    <a:scrgbClr r="0" g="0" b="0"/>
                  </a:lnRef>
                  <a:fillRef idx="1">
                    <a:scrgbClr r="0" g="0" b="0"/>
                  </a:fillRef>
                  <a:effectRef idx="0">
                    <a:schemeClr val="accent1">
                      <a:tint val="6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  <p:sp>
                <p:nvSpPr>
                  <p:cNvPr id="40" name="Right Arrow 4"/>
                  <p:cNvSpPr/>
                  <p:nvPr/>
                </p:nvSpPr>
                <p:spPr>
                  <a:xfrm>
                    <a:off x="1020945" y="2097451"/>
                    <a:ext cx="137735" cy="138106"/>
                  </a:xfrm>
                  <a:prstGeom prst="rect">
                    <a:avLst/>
                  </a:prstGeom>
                  <a:grpFill/>
                  <a:ln>
                    <a:solidFill>
                      <a:schemeClr val="accent3"/>
                    </a:solidFill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0" tIns="0" rIns="0" bIns="0" numCol="1" spcCol="1270" anchor="ctr" anchorCtr="0">
                    <a:noAutofit/>
                  </a:bodyPr>
                  <a:lstStyle/>
                  <a:p>
                    <a:pPr lvl="0" algn="ctr" defTabSz="40005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</a:pPr>
                    <a:endParaRPr lang="en-US" sz="800" kern="1200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41" name="Group 40"/>
                <p:cNvGrpSpPr/>
                <p:nvPr/>
              </p:nvGrpSpPr>
              <p:grpSpPr>
                <a:xfrm>
                  <a:off x="3035364" y="3108950"/>
                  <a:ext cx="196764" cy="230176"/>
                  <a:chOff x="1020945" y="2051416"/>
                  <a:chExt cx="196764" cy="230176"/>
                </a:xfrm>
                <a:solidFill>
                  <a:schemeClr val="accent3"/>
                </a:solidFill>
              </p:grpSpPr>
              <p:sp>
                <p:nvSpPr>
                  <p:cNvPr id="42" name="Right Arrow 41"/>
                  <p:cNvSpPr/>
                  <p:nvPr/>
                </p:nvSpPr>
                <p:spPr>
                  <a:xfrm>
                    <a:off x="1020945" y="2051416"/>
                    <a:ext cx="196764" cy="230176"/>
                  </a:xfrm>
                  <a:prstGeom prst="rightArrow">
                    <a:avLst>
                      <a:gd name="adj1" fmla="val 60000"/>
                      <a:gd name="adj2" fmla="val 50000"/>
                    </a:avLst>
                  </a:prstGeom>
                  <a:grpFill/>
                  <a:ln>
                    <a:solidFill>
                      <a:schemeClr val="accent3"/>
                    </a:solidFill>
                  </a:ln>
                </p:spPr>
                <p:style>
                  <a:lnRef idx="0">
                    <a:scrgbClr r="0" g="0" b="0"/>
                  </a:lnRef>
                  <a:fillRef idx="1">
                    <a:scrgbClr r="0" g="0" b="0"/>
                  </a:fillRef>
                  <a:effectRef idx="0">
                    <a:schemeClr val="accent1">
                      <a:tint val="6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  <p:sp>
                <p:nvSpPr>
                  <p:cNvPr id="43" name="Right Arrow 4"/>
                  <p:cNvSpPr/>
                  <p:nvPr/>
                </p:nvSpPr>
                <p:spPr>
                  <a:xfrm>
                    <a:off x="1020945" y="2097451"/>
                    <a:ext cx="137735" cy="138106"/>
                  </a:xfrm>
                  <a:prstGeom prst="rect">
                    <a:avLst/>
                  </a:prstGeom>
                  <a:grpFill/>
                  <a:ln>
                    <a:solidFill>
                      <a:schemeClr val="accent3"/>
                    </a:solidFill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0" tIns="0" rIns="0" bIns="0" numCol="1" spcCol="1270" anchor="ctr" anchorCtr="0">
                    <a:noAutofit/>
                  </a:bodyPr>
                  <a:lstStyle/>
                  <a:p>
                    <a:pPr lvl="0" algn="ctr" defTabSz="40005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</a:pPr>
                    <a:endParaRPr lang="en-US" sz="800" kern="1200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44" name="Group 43"/>
                <p:cNvGrpSpPr/>
                <p:nvPr/>
              </p:nvGrpSpPr>
              <p:grpSpPr>
                <a:xfrm>
                  <a:off x="4479072" y="3108950"/>
                  <a:ext cx="196764" cy="230176"/>
                  <a:chOff x="1020945" y="2051416"/>
                  <a:chExt cx="196764" cy="230176"/>
                </a:xfrm>
                <a:solidFill>
                  <a:schemeClr val="accent3"/>
                </a:solidFill>
              </p:grpSpPr>
              <p:sp>
                <p:nvSpPr>
                  <p:cNvPr id="45" name="Right Arrow 44"/>
                  <p:cNvSpPr/>
                  <p:nvPr/>
                </p:nvSpPr>
                <p:spPr>
                  <a:xfrm>
                    <a:off x="1020945" y="2051416"/>
                    <a:ext cx="196764" cy="230176"/>
                  </a:xfrm>
                  <a:prstGeom prst="rightArrow">
                    <a:avLst>
                      <a:gd name="adj1" fmla="val 60000"/>
                      <a:gd name="adj2" fmla="val 50000"/>
                    </a:avLst>
                  </a:prstGeom>
                  <a:grpFill/>
                  <a:ln>
                    <a:solidFill>
                      <a:schemeClr val="accent3"/>
                    </a:solidFill>
                  </a:ln>
                </p:spPr>
                <p:style>
                  <a:lnRef idx="0">
                    <a:scrgbClr r="0" g="0" b="0"/>
                  </a:lnRef>
                  <a:fillRef idx="1">
                    <a:scrgbClr r="0" g="0" b="0"/>
                  </a:fillRef>
                  <a:effectRef idx="0">
                    <a:schemeClr val="accent1">
                      <a:tint val="6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  <p:sp>
                <p:nvSpPr>
                  <p:cNvPr id="46" name="Right Arrow 4"/>
                  <p:cNvSpPr/>
                  <p:nvPr/>
                </p:nvSpPr>
                <p:spPr>
                  <a:xfrm>
                    <a:off x="1020945" y="2097451"/>
                    <a:ext cx="137735" cy="138106"/>
                  </a:xfrm>
                  <a:prstGeom prst="rect">
                    <a:avLst/>
                  </a:prstGeom>
                  <a:grpFill/>
                  <a:ln>
                    <a:solidFill>
                      <a:schemeClr val="accent3"/>
                    </a:solidFill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0" tIns="0" rIns="0" bIns="0" numCol="1" spcCol="1270" anchor="ctr" anchorCtr="0">
                    <a:noAutofit/>
                  </a:bodyPr>
                  <a:lstStyle/>
                  <a:p>
                    <a:pPr lvl="0" algn="ctr" defTabSz="40005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</a:pPr>
                    <a:endParaRPr lang="en-US" sz="800" kern="1200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47" name="Group 46"/>
                <p:cNvGrpSpPr/>
                <p:nvPr/>
              </p:nvGrpSpPr>
              <p:grpSpPr>
                <a:xfrm>
                  <a:off x="5940243" y="3095547"/>
                  <a:ext cx="196764" cy="230176"/>
                  <a:chOff x="1020945" y="2051416"/>
                  <a:chExt cx="196764" cy="230176"/>
                </a:xfrm>
                <a:solidFill>
                  <a:schemeClr val="accent3"/>
                </a:solidFill>
              </p:grpSpPr>
              <p:sp>
                <p:nvSpPr>
                  <p:cNvPr id="48" name="Right Arrow 47"/>
                  <p:cNvSpPr/>
                  <p:nvPr/>
                </p:nvSpPr>
                <p:spPr>
                  <a:xfrm>
                    <a:off x="1020945" y="2051416"/>
                    <a:ext cx="196764" cy="230176"/>
                  </a:xfrm>
                  <a:prstGeom prst="rightArrow">
                    <a:avLst>
                      <a:gd name="adj1" fmla="val 60000"/>
                      <a:gd name="adj2" fmla="val 50000"/>
                    </a:avLst>
                  </a:prstGeom>
                  <a:grpFill/>
                  <a:ln>
                    <a:solidFill>
                      <a:schemeClr val="accent3"/>
                    </a:solidFill>
                  </a:ln>
                </p:spPr>
                <p:style>
                  <a:lnRef idx="0">
                    <a:scrgbClr r="0" g="0" b="0"/>
                  </a:lnRef>
                  <a:fillRef idx="1">
                    <a:scrgbClr r="0" g="0" b="0"/>
                  </a:fillRef>
                  <a:effectRef idx="0">
                    <a:schemeClr val="accent1">
                      <a:tint val="6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  <p:sp>
                <p:nvSpPr>
                  <p:cNvPr id="49" name="Right Arrow 4"/>
                  <p:cNvSpPr/>
                  <p:nvPr/>
                </p:nvSpPr>
                <p:spPr>
                  <a:xfrm>
                    <a:off x="1020945" y="2097451"/>
                    <a:ext cx="137735" cy="138106"/>
                  </a:xfrm>
                  <a:prstGeom prst="rect">
                    <a:avLst/>
                  </a:prstGeom>
                  <a:grpFill/>
                  <a:ln>
                    <a:solidFill>
                      <a:schemeClr val="accent3"/>
                    </a:solidFill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0" tIns="0" rIns="0" bIns="0" numCol="1" spcCol="1270" anchor="ctr" anchorCtr="0">
                    <a:noAutofit/>
                  </a:bodyPr>
                  <a:lstStyle/>
                  <a:p>
                    <a:pPr lvl="0" algn="ctr" defTabSz="40005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</a:pPr>
                    <a:endParaRPr lang="en-US" sz="800" kern="1200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50" name="Group 49"/>
                <p:cNvGrpSpPr/>
                <p:nvPr/>
              </p:nvGrpSpPr>
              <p:grpSpPr>
                <a:xfrm>
                  <a:off x="7394195" y="3095547"/>
                  <a:ext cx="196764" cy="230176"/>
                  <a:chOff x="1020945" y="2051416"/>
                  <a:chExt cx="196764" cy="230176"/>
                </a:xfrm>
                <a:solidFill>
                  <a:schemeClr val="accent3"/>
                </a:solidFill>
              </p:grpSpPr>
              <p:sp>
                <p:nvSpPr>
                  <p:cNvPr id="51" name="Right Arrow 50"/>
                  <p:cNvSpPr/>
                  <p:nvPr/>
                </p:nvSpPr>
                <p:spPr>
                  <a:xfrm>
                    <a:off x="1020945" y="2051416"/>
                    <a:ext cx="196764" cy="230176"/>
                  </a:xfrm>
                  <a:prstGeom prst="rightArrow">
                    <a:avLst>
                      <a:gd name="adj1" fmla="val 60000"/>
                      <a:gd name="adj2" fmla="val 50000"/>
                    </a:avLst>
                  </a:prstGeom>
                  <a:grpFill/>
                  <a:ln>
                    <a:solidFill>
                      <a:schemeClr val="accent3"/>
                    </a:solidFill>
                  </a:ln>
                </p:spPr>
                <p:style>
                  <a:lnRef idx="0">
                    <a:scrgbClr r="0" g="0" b="0"/>
                  </a:lnRef>
                  <a:fillRef idx="1">
                    <a:scrgbClr r="0" g="0" b="0"/>
                  </a:fillRef>
                  <a:effectRef idx="0">
                    <a:schemeClr val="accent1">
                      <a:tint val="6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  <p:sp>
                <p:nvSpPr>
                  <p:cNvPr id="52" name="Right Arrow 4"/>
                  <p:cNvSpPr/>
                  <p:nvPr/>
                </p:nvSpPr>
                <p:spPr>
                  <a:xfrm>
                    <a:off x="1020945" y="2097451"/>
                    <a:ext cx="137735" cy="138106"/>
                  </a:xfrm>
                  <a:prstGeom prst="rect">
                    <a:avLst/>
                  </a:prstGeom>
                  <a:grpFill/>
                  <a:ln>
                    <a:solidFill>
                      <a:schemeClr val="accent3"/>
                    </a:solidFill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0" tIns="0" rIns="0" bIns="0" numCol="1" spcCol="1270" anchor="ctr" anchorCtr="0">
                    <a:noAutofit/>
                  </a:bodyPr>
                  <a:lstStyle/>
                  <a:p>
                    <a:pPr lvl="0" algn="ctr" defTabSz="40005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</a:pPr>
                    <a:endParaRPr lang="en-US" sz="800" kern="1200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53" name="Group 52"/>
                <p:cNvGrpSpPr/>
                <p:nvPr/>
              </p:nvGrpSpPr>
              <p:grpSpPr>
                <a:xfrm>
                  <a:off x="1587177" y="1936746"/>
                  <a:ext cx="196764" cy="196582"/>
                  <a:chOff x="1020945" y="2051416"/>
                  <a:chExt cx="196764" cy="230176"/>
                </a:xfrm>
                <a:solidFill>
                  <a:schemeClr val="bg1"/>
                </a:solidFill>
              </p:grpSpPr>
              <p:sp>
                <p:nvSpPr>
                  <p:cNvPr id="54" name="Right Arrow 4"/>
                  <p:cNvSpPr/>
                  <p:nvPr/>
                </p:nvSpPr>
                <p:spPr>
                  <a:xfrm>
                    <a:off x="1020945" y="2097451"/>
                    <a:ext cx="137735" cy="138106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0" tIns="0" rIns="0" bIns="0" numCol="1" spcCol="1270" anchor="ctr" anchorCtr="0">
                    <a:noAutofit/>
                  </a:bodyPr>
                  <a:lstStyle/>
                  <a:p>
                    <a:pPr lvl="0" algn="ctr" defTabSz="40005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</a:pPr>
                    <a:endParaRPr lang="en-US" sz="900" kern="12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5" name="Right Arrow 54"/>
                  <p:cNvSpPr/>
                  <p:nvPr/>
                </p:nvSpPr>
                <p:spPr>
                  <a:xfrm>
                    <a:off x="1020945" y="2051416"/>
                    <a:ext cx="196764" cy="230176"/>
                  </a:xfrm>
                  <a:prstGeom prst="rightArrow">
                    <a:avLst>
                      <a:gd name="adj1" fmla="val 60000"/>
                      <a:gd name="adj2" fmla="val 50000"/>
                    </a:avLst>
                  </a:prstGeom>
                  <a:grpFill/>
                  <a:ln>
                    <a:solidFill>
                      <a:schemeClr val="tx1"/>
                    </a:solidFill>
                  </a:ln>
                </p:spPr>
                <p:style>
                  <a:lnRef idx="0">
                    <a:scrgbClr r="0" g="0" b="0"/>
                  </a:lnRef>
                  <a:fillRef idx="1">
                    <a:scrgbClr r="0" g="0" b="0"/>
                  </a:fillRef>
                  <a:effectRef idx="0">
                    <a:schemeClr val="accent1">
                      <a:tint val="6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</p:grpSp>
            <p:grpSp>
              <p:nvGrpSpPr>
                <p:cNvPr id="56" name="Group 55"/>
                <p:cNvGrpSpPr/>
                <p:nvPr/>
              </p:nvGrpSpPr>
              <p:grpSpPr>
                <a:xfrm>
                  <a:off x="3027850" y="1936746"/>
                  <a:ext cx="196764" cy="196582"/>
                  <a:chOff x="1020945" y="2051416"/>
                  <a:chExt cx="196764" cy="230176"/>
                </a:xfrm>
                <a:solidFill>
                  <a:schemeClr val="bg1"/>
                </a:solidFill>
              </p:grpSpPr>
              <p:sp>
                <p:nvSpPr>
                  <p:cNvPr id="57" name="Right Arrow 4"/>
                  <p:cNvSpPr/>
                  <p:nvPr/>
                </p:nvSpPr>
                <p:spPr>
                  <a:xfrm>
                    <a:off x="1020945" y="2097451"/>
                    <a:ext cx="137735" cy="138106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0" tIns="0" rIns="0" bIns="0" numCol="1" spcCol="1270" anchor="ctr" anchorCtr="0">
                    <a:noAutofit/>
                  </a:bodyPr>
                  <a:lstStyle/>
                  <a:p>
                    <a:pPr lvl="0" algn="ctr" defTabSz="40005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</a:pPr>
                    <a:endParaRPr lang="en-US" sz="900" kern="12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8" name="Right Arrow 57"/>
                  <p:cNvSpPr/>
                  <p:nvPr/>
                </p:nvSpPr>
                <p:spPr>
                  <a:xfrm>
                    <a:off x="1020945" y="2051416"/>
                    <a:ext cx="196764" cy="230176"/>
                  </a:xfrm>
                  <a:prstGeom prst="rightArrow">
                    <a:avLst>
                      <a:gd name="adj1" fmla="val 60000"/>
                      <a:gd name="adj2" fmla="val 50000"/>
                    </a:avLst>
                  </a:prstGeom>
                  <a:grpFill/>
                  <a:ln>
                    <a:solidFill>
                      <a:schemeClr val="tx1"/>
                    </a:solidFill>
                  </a:ln>
                </p:spPr>
                <p:style>
                  <a:lnRef idx="0">
                    <a:scrgbClr r="0" g="0" b="0"/>
                  </a:lnRef>
                  <a:fillRef idx="1">
                    <a:scrgbClr r="0" g="0" b="0"/>
                  </a:fillRef>
                  <a:effectRef idx="0">
                    <a:schemeClr val="accent1">
                      <a:tint val="6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</p:grpSp>
            <p:grpSp>
              <p:nvGrpSpPr>
                <p:cNvPr id="59" name="Group 58"/>
                <p:cNvGrpSpPr/>
                <p:nvPr/>
              </p:nvGrpSpPr>
              <p:grpSpPr>
                <a:xfrm>
                  <a:off x="4487299" y="1936746"/>
                  <a:ext cx="196764" cy="196582"/>
                  <a:chOff x="1020945" y="2051416"/>
                  <a:chExt cx="196764" cy="230176"/>
                </a:xfrm>
                <a:solidFill>
                  <a:schemeClr val="bg1"/>
                </a:solidFill>
              </p:grpSpPr>
              <p:sp>
                <p:nvSpPr>
                  <p:cNvPr id="60" name="Right Arrow 4"/>
                  <p:cNvSpPr/>
                  <p:nvPr/>
                </p:nvSpPr>
                <p:spPr>
                  <a:xfrm>
                    <a:off x="1020945" y="2097451"/>
                    <a:ext cx="137735" cy="138106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0" tIns="0" rIns="0" bIns="0" numCol="1" spcCol="1270" anchor="ctr" anchorCtr="0">
                    <a:noAutofit/>
                  </a:bodyPr>
                  <a:lstStyle/>
                  <a:p>
                    <a:pPr lvl="0" algn="ctr" defTabSz="40005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</a:pPr>
                    <a:endParaRPr lang="en-US" sz="900" kern="12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1" name="Right Arrow 60"/>
                  <p:cNvSpPr/>
                  <p:nvPr/>
                </p:nvSpPr>
                <p:spPr>
                  <a:xfrm>
                    <a:off x="1020945" y="2051416"/>
                    <a:ext cx="196764" cy="230176"/>
                  </a:xfrm>
                  <a:prstGeom prst="rightArrow">
                    <a:avLst>
                      <a:gd name="adj1" fmla="val 60000"/>
                      <a:gd name="adj2" fmla="val 50000"/>
                    </a:avLst>
                  </a:prstGeom>
                  <a:grpFill/>
                  <a:ln>
                    <a:solidFill>
                      <a:schemeClr val="tx1"/>
                    </a:solidFill>
                  </a:ln>
                </p:spPr>
                <p:style>
                  <a:lnRef idx="0">
                    <a:scrgbClr r="0" g="0" b="0"/>
                  </a:lnRef>
                  <a:fillRef idx="1">
                    <a:scrgbClr r="0" g="0" b="0"/>
                  </a:fillRef>
                  <a:effectRef idx="0">
                    <a:schemeClr val="accent1">
                      <a:tint val="6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</p:grpSp>
            <p:grpSp>
              <p:nvGrpSpPr>
                <p:cNvPr id="62" name="Group 61"/>
                <p:cNvGrpSpPr/>
                <p:nvPr/>
              </p:nvGrpSpPr>
              <p:grpSpPr>
                <a:xfrm>
                  <a:off x="5950272" y="1936746"/>
                  <a:ext cx="196764" cy="196582"/>
                  <a:chOff x="1020945" y="2051416"/>
                  <a:chExt cx="196764" cy="230176"/>
                </a:xfrm>
                <a:solidFill>
                  <a:schemeClr val="bg1"/>
                </a:solidFill>
              </p:grpSpPr>
              <p:sp>
                <p:nvSpPr>
                  <p:cNvPr id="63" name="Right Arrow 4"/>
                  <p:cNvSpPr/>
                  <p:nvPr/>
                </p:nvSpPr>
                <p:spPr>
                  <a:xfrm>
                    <a:off x="1020945" y="2097451"/>
                    <a:ext cx="137735" cy="138106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0" tIns="0" rIns="0" bIns="0" numCol="1" spcCol="1270" anchor="ctr" anchorCtr="0">
                    <a:noAutofit/>
                  </a:bodyPr>
                  <a:lstStyle/>
                  <a:p>
                    <a:pPr lvl="0" algn="ctr" defTabSz="40005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</a:pPr>
                    <a:endParaRPr lang="en-US" sz="900" kern="12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4" name="Right Arrow 63"/>
                  <p:cNvSpPr/>
                  <p:nvPr/>
                </p:nvSpPr>
                <p:spPr>
                  <a:xfrm>
                    <a:off x="1020945" y="2051416"/>
                    <a:ext cx="196764" cy="230176"/>
                  </a:xfrm>
                  <a:prstGeom prst="rightArrow">
                    <a:avLst>
                      <a:gd name="adj1" fmla="val 60000"/>
                      <a:gd name="adj2" fmla="val 50000"/>
                    </a:avLst>
                  </a:prstGeom>
                  <a:grpFill/>
                  <a:ln>
                    <a:solidFill>
                      <a:schemeClr val="tx1"/>
                    </a:solidFill>
                  </a:ln>
                </p:spPr>
                <p:style>
                  <a:lnRef idx="0">
                    <a:scrgbClr r="0" g="0" b="0"/>
                  </a:lnRef>
                  <a:fillRef idx="1">
                    <a:scrgbClr r="0" g="0" b="0"/>
                  </a:fillRef>
                  <a:effectRef idx="0">
                    <a:schemeClr val="accent1">
                      <a:tint val="6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</p:grpSp>
            <p:grpSp>
              <p:nvGrpSpPr>
                <p:cNvPr id="65" name="Group 64"/>
                <p:cNvGrpSpPr/>
                <p:nvPr/>
              </p:nvGrpSpPr>
              <p:grpSpPr>
                <a:xfrm>
                  <a:off x="7395205" y="1936746"/>
                  <a:ext cx="196764" cy="196582"/>
                  <a:chOff x="1020945" y="2051416"/>
                  <a:chExt cx="196764" cy="230176"/>
                </a:xfrm>
                <a:solidFill>
                  <a:schemeClr val="bg1"/>
                </a:solidFill>
              </p:grpSpPr>
              <p:sp>
                <p:nvSpPr>
                  <p:cNvPr id="66" name="Right Arrow 4"/>
                  <p:cNvSpPr/>
                  <p:nvPr/>
                </p:nvSpPr>
                <p:spPr>
                  <a:xfrm>
                    <a:off x="1020945" y="2097451"/>
                    <a:ext cx="137735" cy="138106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0" tIns="0" rIns="0" bIns="0" numCol="1" spcCol="1270" anchor="ctr" anchorCtr="0">
                    <a:noAutofit/>
                  </a:bodyPr>
                  <a:lstStyle/>
                  <a:p>
                    <a:pPr lvl="0" algn="ctr" defTabSz="40005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</a:pPr>
                    <a:endParaRPr lang="en-US" sz="900" kern="12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7" name="Right Arrow 66"/>
                  <p:cNvSpPr/>
                  <p:nvPr/>
                </p:nvSpPr>
                <p:spPr>
                  <a:xfrm>
                    <a:off x="1020945" y="2051416"/>
                    <a:ext cx="196764" cy="230176"/>
                  </a:xfrm>
                  <a:prstGeom prst="rightArrow">
                    <a:avLst>
                      <a:gd name="adj1" fmla="val 60000"/>
                      <a:gd name="adj2" fmla="val 50000"/>
                    </a:avLst>
                  </a:prstGeom>
                  <a:grpFill/>
                  <a:ln>
                    <a:solidFill>
                      <a:schemeClr val="tx1"/>
                    </a:solidFill>
                  </a:ln>
                </p:spPr>
                <p:style>
                  <a:lnRef idx="0">
                    <a:scrgbClr r="0" g="0" b="0"/>
                  </a:lnRef>
                  <a:fillRef idx="1">
                    <a:scrgbClr r="0" g="0" b="0"/>
                  </a:fillRef>
                  <a:effectRef idx="0">
                    <a:schemeClr val="accent1">
                      <a:tint val="6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</p:grpSp>
            <p:sp>
              <p:nvSpPr>
                <p:cNvPr id="69" name="Rounded Rectangle 24"/>
                <p:cNvSpPr/>
                <p:nvPr/>
              </p:nvSpPr>
              <p:spPr>
                <a:xfrm>
                  <a:off x="4737198" y="2548990"/>
                  <a:ext cx="1119087" cy="193430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4290" tIns="34290" rIns="34290" bIns="34290" numCol="1" spcCol="1270" anchor="ctr" anchorCtr="0">
                  <a:noAutofit/>
                </a:bodyPr>
                <a:lstStyle/>
                <a:p>
                  <a:pPr marL="171450" lvl="0" indent="-171450" defTabSz="4000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Font typeface="Wingdings" panose="05000000000000000000" pitchFamily="2" charset="2"/>
                    <a:buChar char="ü"/>
                  </a:pPr>
                  <a:r>
                    <a:rPr lang="en-US" sz="800" dirty="0" smtClean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ll is skipped due to cancel notice being set on the policy.</a:t>
                  </a:r>
                </a:p>
              </p:txBody>
            </p:sp>
            <p:grpSp>
              <p:nvGrpSpPr>
                <p:cNvPr id="8" name="Group 7"/>
                <p:cNvGrpSpPr/>
                <p:nvPr/>
              </p:nvGrpSpPr>
              <p:grpSpPr>
                <a:xfrm>
                  <a:off x="345412" y="4861041"/>
                  <a:ext cx="3123685" cy="233102"/>
                  <a:chOff x="345412" y="4861041"/>
                  <a:chExt cx="3123685" cy="233102"/>
                </a:xfrm>
              </p:grpSpPr>
              <p:sp>
                <p:nvSpPr>
                  <p:cNvPr id="70" name="Rectangle 69"/>
                  <p:cNvSpPr/>
                  <p:nvPr/>
                </p:nvSpPr>
                <p:spPr bwMode="gray">
                  <a:xfrm>
                    <a:off x="345412" y="4870978"/>
                    <a:ext cx="312508" cy="212588"/>
                  </a:xfrm>
                  <a:prstGeom prst="rect">
                    <a:avLst/>
                  </a:prstGeom>
                  <a:solidFill>
                    <a:schemeClr val="accent2"/>
                  </a:solidFill>
                  <a:ln w="19050" algn="ctr">
                    <a:solidFill>
                      <a:schemeClr val="accent2"/>
                    </a:solidFill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8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  <p:sp>
                <p:nvSpPr>
                  <p:cNvPr id="71" name="Rectangle 70"/>
                  <p:cNvSpPr/>
                  <p:nvPr/>
                </p:nvSpPr>
                <p:spPr bwMode="gray">
                  <a:xfrm>
                    <a:off x="1969773" y="4870978"/>
                    <a:ext cx="312508" cy="212588"/>
                  </a:xfrm>
                  <a:prstGeom prst="rect">
                    <a:avLst/>
                  </a:prstGeom>
                  <a:solidFill>
                    <a:schemeClr val="accent3"/>
                  </a:solidFill>
                  <a:ln w="19050" algn="ctr">
                    <a:solidFill>
                      <a:schemeClr val="accent3"/>
                    </a:solidFill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8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  <p:sp>
                <p:nvSpPr>
                  <p:cNvPr id="72" name="Rounded Rectangle 4"/>
                  <p:cNvSpPr/>
                  <p:nvPr/>
                </p:nvSpPr>
                <p:spPr>
                  <a:xfrm>
                    <a:off x="639331" y="4861390"/>
                    <a:ext cx="1186816" cy="232753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34290" tIns="34290" rIns="34290" bIns="34290" numCol="1" spcCol="1270" anchor="ctr" anchorCtr="0">
                    <a:noAutofit/>
                  </a:bodyPr>
                  <a:lstStyle/>
                  <a:p>
                    <a:pPr lvl="0" algn="ctr" defTabSz="40005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</a:pPr>
                    <a:r>
                      <a:rPr lang="en-US" sz="80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Conversion Validation</a:t>
                    </a:r>
                    <a:endParaRPr lang="en-US" sz="800" kern="120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73" name="Rounded Rectangle 4"/>
                  <p:cNvSpPr/>
                  <p:nvPr/>
                </p:nvSpPr>
                <p:spPr>
                  <a:xfrm>
                    <a:off x="2282281" y="4861041"/>
                    <a:ext cx="1186816" cy="232753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34290" tIns="34290" rIns="34290" bIns="34290" numCol="1" spcCol="1270" anchor="ctr" anchorCtr="0">
                    <a:noAutofit/>
                  </a:bodyPr>
                  <a:lstStyle/>
                  <a:p>
                    <a:pPr lvl="0" algn="ctr" defTabSz="40005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</a:pPr>
                    <a:r>
                      <a:rPr lang="en-US" sz="8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PAS CL Validation</a:t>
                    </a:r>
                    <a:endParaRPr lang="en-US" sz="800" kern="120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</p:grpSp>
        </p:grpSp>
      </p:grpSp>
      <p:cxnSp>
        <p:nvCxnSpPr>
          <p:cNvPr id="68" name="Straight Connector 67"/>
          <p:cNvCxnSpPr/>
          <p:nvPr/>
        </p:nvCxnSpPr>
        <p:spPr>
          <a:xfrm>
            <a:off x="364061" y="5161919"/>
            <a:ext cx="841038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/>
          <p:cNvSpPr/>
          <p:nvPr/>
        </p:nvSpPr>
        <p:spPr bwMode="gray">
          <a:xfrm>
            <a:off x="3622207" y="5037858"/>
            <a:ext cx="1954345" cy="264964"/>
          </a:xfrm>
          <a:prstGeom prst="rect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00" b="1" i="1" dirty="0" smtClean="0"/>
              <a:t>DESIGN DOCUMENTS</a:t>
            </a:r>
          </a:p>
        </p:txBody>
      </p:sp>
      <p:graphicFrame>
        <p:nvGraphicFramePr>
          <p:cNvPr id="75" name="Object 7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82827916"/>
              </p:ext>
            </p:extLst>
          </p:nvPr>
        </p:nvGraphicFramePr>
        <p:xfrm>
          <a:off x="2117674" y="563550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4" name="Worksheet" showAsIcon="1" r:id="rId5" imgW="914400" imgH="771480" progId="Excel.Sheet.12">
                  <p:embed/>
                </p:oleObj>
              </mc:Choice>
              <mc:Fallback>
                <p:oleObj name="Worksheet" showAsIcon="1" r:id="rId5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674" y="563550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0" name="Object 7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04319804"/>
              </p:ext>
            </p:extLst>
          </p:nvPr>
        </p:nvGraphicFramePr>
        <p:xfrm>
          <a:off x="6138683" y="564857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5" name="Worksheet" showAsIcon="1" r:id="rId8" imgW="914400" imgH="771480" progId="Excel.Sheet.12">
                  <p:embed/>
                </p:oleObj>
              </mc:Choice>
              <mc:Fallback>
                <p:oleObj name="Worksheet" showAsIcon="1" r:id="rId8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6138683" y="564857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364061" y="5302822"/>
            <a:ext cx="829968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 dirty="0" smtClean="0">
                <a:solidFill>
                  <a:srgbClr val="313131"/>
                </a:solidFill>
              </a:rPr>
              <a:t>Attached below are the designs for Conversions (PA and NJ) and Capping. Capping designs are CL related and can be replicated for all states. </a:t>
            </a: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80939029"/>
              </p:ext>
            </p:extLst>
          </p:nvPr>
        </p:nvGraphicFramePr>
        <p:xfrm>
          <a:off x="7484224" y="564857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6" name="Worksheet" showAsIcon="1" r:id="rId11" imgW="914400" imgH="771480" progId="Excel.Sheet.12">
                  <p:embed/>
                </p:oleObj>
              </mc:Choice>
              <mc:Fallback>
                <p:oleObj name="Worksheet" showAsIcon="1" r:id="rId11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7484224" y="564857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96727148"/>
              </p:ext>
            </p:extLst>
          </p:nvPr>
        </p:nvGraphicFramePr>
        <p:xfrm>
          <a:off x="493313" y="564858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7" name="Visio" showAsIcon="1" r:id="rId13" imgW="914400" imgH="771480" progId="Visio.Drawing.15">
                  <p:embed/>
                </p:oleObj>
              </mc:Choice>
              <mc:Fallback>
                <p:oleObj name="Visio" showAsIcon="1" r:id="rId13" imgW="914400" imgH="771480" progId="Visio.Drawing.15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493313" y="564858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87845693"/>
              </p:ext>
            </p:extLst>
          </p:nvPr>
        </p:nvGraphicFramePr>
        <p:xfrm>
          <a:off x="3822146" y="566664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8" name="Visio" showAsIcon="1" r:id="rId15" imgW="914400" imgH="771480" progId="Visio.Drawing.11">
                  <p:embed/>
                </p:oleObj>
              </mc:Choice>
              <mc:Fallback>
                <p:oleObj name="Visio" showAsIcon="1" r:id="rId15" imgW="914400" imgH="771480" progId="Visio.Drawing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3822146" y="566664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35096090"/>
              </p:ext>
            </p:extLst>
          </p:nvPr>
        </p:nvGraphicFramePr>
        <p:xfrm>
          <a:off x="5098101" y="5648579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9" name="Acrobat Document" showAsIcon="1" r:id="rId17" imgW="914400" imgH="771480" progId="AcroExch.Document.7">
                  <p:embed/>
                </p:oleObj>
              </mc:Choice>
              <mc:Fallback>
                <p:oleObj name="Acrobat Document" showAsIcon="1" r:id="rId17" imgW="914400" imgH="771480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5098101" y="5648579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531478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US Deloitte Color">
      <a:dk1>
        <a:sysClr val="windowText" lastClr="000000"/>
      </a:dk1>
      <a:lt1>
        <a:sysClr val="window" lastClr="FFFFFF"/>
      </a:lt1>
      <a:dk2>
        <a:srgbClr val="313131"/>
      </a:dk2>
      <a:lt2>
        <a:srgbClr val="8C8C8C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4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S_Timesaver.pptx" id="{328DEE6A-A28F-47B6-B129-B131313CEDB1}" vid="{CCD60F2F-4D9C-4F57-BB97-3B8DF6E2F701}"/>
    </a:ext>
  </a:extLst>
</a:theme>
</file>

<file path=ppt/theme/theme2.xml><?xml version="1.0" encoding="utf-8"?>
<a:theme xmlns:a="http://schemas.openxmlformats.org/drawingml/2006/main" name="US Consulting Report Template_R1.5_032508">
  <a:themeElements>
    <a:clrScheme name="">
      <a:dk1>
        <a:srgbClr val="000000"/>
      </a:dk1>
      <a:lt1>
        <a:srgbClr val="FFFFFF"/>
      </a:lt1>
      <a:dk2>
        <a:srgbClr val="4066B2"/>
      </a:dk2>
      <a:lt2>
        <a:srgbClr val="009999"/>
      </a:lt2>
      <a:accent1>
        <a:srgbClr val="003399"/>
      </a:accent1>
      <a:accent2>
        <a:srgbClr val="8099CC"/>
      </a:accent2>
      <a:accent3>
        <a:srgbClr val="FFFFFF"/>
      </a:accent3>
      <a:accent4>
        <a:srgbClr val="000000"/>
      </a:accent4>
      <a:accent5>
        <a:srgbClr val="AAADCA"/>
      </a:accent5>
      <a:accent6>
        <a:srgbClr val="738AB9"/>
      </a:accent6>
      <a:hlink>
        <a:srgbClr val="80CCCC"/>
      </a:hlink>
      <a:folHlink>
        <a:srgbClr val="4066B2"/>
      </a:folHlink>
    </a:clrScheme>
    <a:fontScheme name="US Consulting Report Template_R1.5_0325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3152" tIns="73152" rIns="73152" bIns="73152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6000"/>
          </a:lnSpc>
          <a:spcBef>
            <a:spcPct val="50000"/>
          </a:spcBef>
          <a:spcAft>
            <a:spcPct val="0"/>
          </a:spcAft>
          <a:buClrTx/>
          <a:buSzPct val="100000"/>
          <a:buFont typeface="Wingdings 2" pitchFamily="18" charset="2"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3152" tIns="73152" rIns="73152" bIns="73152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6000"/>
          </a:lnSpc>
          <a:spcBef>
            <a:spcPct val="50000"/>
          </a:spcBef>
          <a:spcAft>
            <a:spcPct val="0"/>
          </a:spcAft>
          <a:buClrTx/>
          <a:buSzPct val="100000"/>
          <a:buFont typeface="Wingdings 2" pitchFamily="18" charset="2"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S Consulting Report Template_R1.5_032508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 Consulting Report Template_R1.5_032508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8">
        <a:dk1>
          <a:srgbClr val="000000"/>
        </a:dk1>
        <a:lt1>
          <a:srgbClr val="FFFFFF"/>
        </a:lt1>
        <a:dk2>
          <a:srgbClr val="B2CADB"/>
        </a:dk2>
        <a:lt2>
          <a:srgbClr val="1D3A6A"/>
        </a:lt2>
        <a:accent1>
          <a:srgbClr val="DED3B6"/>
        </a:accent1>
        <a:accent2>
          <a:srgbClr val="EAB58E"/>
        </a:accent2>
        <a:accent3>
          <a:srgbClr val="FFFFFF"/>
        </a:accent3>
        <a:accent4>
          <a:srgbClr val="000000"/>
        </a:accent4>
        <a:accent5>
          <a:srgbClr val="ECE6D7"/>
        </a:accent5>
        <a:accent6>
          <a:srgbClr val="D4A480"/>
        </a:accent6>
        <a:hlink>
          <a:srgbClr val="F5DDCB"/>
        </a:hlink>
        <a:folHlink>
          <a:srgbClr val="FEF2D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9">
        <a:dk1>
          <a:srgbClr val="000000"/>
        </a:dk1>
        <a:lt1>
          <a:srgbClr val="FFFFFF"/>
        </a:lt1>
        <a:dk2>
          <a:srgbClr val="FEF2D2"/>
        </a:dk2>
        <a:lt2>
          <a:srgbClr val="1D3A6A"/>
        </a:lt2>
        <a:accent1>
          <a:srgbClr val="B2CADB"/>
        </a:accent1>
        <a:accent2>
          <a:srgbClr val="DED3B6"/>
        </a:accent2>
        <a:accent3>
          <a:srgbClr val="FFFFFF"/>
        </a:accent3>
        <a:accent4>
          <a:srgbClr val="000000"/>
        </a:accent4>
        <a:accent5>
          <a:srgbClr val="D5E1EA"/>
        </a:accent5>
        <a:accent6>
          <a:srgbClr val="C9BFA5"/>
        </a:accent6>
        <a:hlink>
          <a:srgbClr val="EAB58E"/>
        </a:hlink>
        <a:folHlink>
          <a:srgbClr val="F5DD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0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9DA5BE"/>
        </a:accent1>
        <a:accent2>
          <a:srgbClr val="85C2FE"/>
        </a:accent2>
        <a:accent3>
          <a:srgbClr val="FFFFFF"/>
        </a:accent3>
        <a:accent4>
          <a:srgbClr val="000000"/>
        </a:accent4>
        <a:accent5>
          <a:srgbClr val="CCCFDB"/>
        </a:accent5>
        <a:accent6>
          <a:srgbClr val="78B0E6"/>
        </a:accent6>
        <a:hlink>
          <a:srgbClr val="ADD6FF"/>
        </a:hlink>
        <a:folHlink>
          <a:srgbClr val="D6EB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1">
        <a:dk1>
          <a:srgbClr val="AFAFAF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959595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F1ED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2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000000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F1ED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3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000000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D6EB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4">
        <a:dk1>
          <a:srgbClr val="000000"/>
        </a:dk1>
        <a:lt1>
          <a:srgbClr val="FFFFFF"/>
        </a:lt1>
        <a:dk2>
          <a:srgbClr val="CCD6EB"/>
        </a:dk2>
        <a:lt2>
          <a:srgbClr val="000066"/>
        </a:lt2>
        <a:accent1>
          <a:srgbClr val="40B3B3"/>
        </a:accent1>
        <a:accent2>
          <a:srgbClr val="B2C1E0"/>
        </a:accent2>
        <a:accent3>
          <a:srgbClr val="FFFFFF"/>
        </a:accent3>
        <a:accent4>
          <a:srgbClr val="000000"/>
        </a:accent4>
        <a:accent5>
          <a:srgbClr val="AFD6D6"/>
        </a:accent5>
        <a:accent6>
          <a:srgbClr val="A1AFCB"/>
        </a:accent6>
        <a:hlink>
          <a:srgbClr val="66C2C2"/>
        </a:hlink>
        <a:folHlink>
          <a:srgbClr val="8CA3D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5">
        <a:dk1>
          <a:srgbClr val="000000"/>
        </a:dk1>
        <a:lt1>
          <a:srgbClr val="FFFFFF"/>
        </a:lt1>
        <a:dk2>
          <a:srgbClr val="4066B2"/>
        </a:dk2>
        <a:lt2>
          <a:srgbClr val="000066"/>
        </a:lt2>
        <a:accent1>
          <a:srgbClr val="003399"/>
        </a:accent1>
        <a:accent2>
          <a:srgbClr val="80CCCC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B9B9"/>
        </a:accent6>
        <a:hlink>
          <a:srgbClr val="8099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6">
        <a:dk1>
          <a:srgbClr val="000000"/>
        </a:dk1>
        <a:lt1>
          <a:srgbClr val="FFFFFF"/>
        </a:lt1>
        <a:dk2>
          <a:srgbClr val="4066B2"/>
        </a:dk2>
        <a:lt2>
          <a:srgbClr val="000066"/>
        </a:lt2>
        <a:accent1>
          <a:srgbClr val="003399"/>
        </a:accent1>
        <a:accent2>
          <a:srgbClr val="8099CC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8AB9"/>
        </a:accent6>
        <a:hlink>
          <a:srgbClr val="80CCCC"/>
        </a:hlink>
        <a:folHlink>
          <a:srgbClr val="4066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27</TotalTime>
  <Words>154</Words>
  <Application>Microsoft Office PowerPoint</Application>
  <PresentationFormat>On-screen Show (4:3)</PresentationFormat>
  <Paragraphs>3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5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Arial</vt:lpstr>
      <vt:lpstr>Calibri</vt:lpstr>
      <vt:lpstr>Wingdings</vt:lpstr>
      <vt:lpstr>Wingdings 2</vt:lpstr>
      <vt:lpstr>Deloitte_US_Onscreen</vt:lpstr>
      <vt:lpstr>US Consulting Report Template_R1.5_032508</vt:lpstr>
      <vt:lpstr>think-cell Slide</vt:lpstr>
      <vt:lpstr>Worksheet</vt:lpstr>
      <vt:lpstr>Microsoft Visio Drawing</vt:lpstr>
      <vt:lpstr>Microsoft Visio 2003-2010 Drawing</vt:lpstr>
      <vt:lpstr>Acrobat Document</vt:lpstr>
      <vt:lpstr>Conversion &amp; Capping Design Walkthrough Illustrated below is a Lifecycle Scenario for conversions – The actual lifecycle scenario will contain more number of validations than depicted below. The design documents section contains the designs for both capping and conversions. </vt:lpstr>
    </vt:vector>
  </TitlesOfParts>
  <Company>Deloit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duri, Lalitha Kiran</dc:creator>
  <cp:lastModifiedBy>Gottipati, Maanasa Prasad</cp:lastModifiedBy>
  <cp:revision>29</cp:revision>
  <dcterms:created xsi:type="dcterms:W3CDTF">2015-08-31T12:52:25Z</dcterms:created>
  <dcterms:modified xsi:type="dcterms:W3CDTF">2015-09-01T11:29:40Z</dcterms:modified>
</cp:coreProperties>
</file>